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302" r:id="rId6"/>
    <p:sldId id="299" r:id="rId7"/>
    <p:sldId id="297" r:id="rId8"/>
    <p:sldId id="287" r:id="rId9"/>
    <p:sldId id="300" r:id="rId10"/>
    <p:sldId id="306" r:id="rId11"/>
  </p:sldIdLst>
  <p:sldSz cx="12192000" cy="6858000"/>
  <p:notesSz cx="6858000" cy="9144000"/>
  <p:custDataLst>
    <p:tags r:id="rId14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velander, Lianne" initials="BL" lastIdx="9" clrIdx="0">
    <p:extLst>
      <p:ext uri="{19B8F6BF-5375-455C-9EA6-DF929625EA0E}">
        <p15:presenceInfo xmlns:p15="http://schemas.microsoft.com/office/powerpoint/2012/main" userId="S::l.bevelander@omwb.nl::a636d6b9-44e4-4aec-bbd5-3f1ed95fd5f7" providerId="AD"/>
      </p:ext>
    </p:extLst>
  </p:cmAuthor>
  <p:cmAuthor id="2" name="Gertie van de  Coevering -  van Herpen" initials="GvdCvH" lastIdx="3" clrIdx="1">
    <p:extLst>
      <p:ext uri="{19B8F6BF-5375-455C-9EA6-DF929625EA0E}">
        <p15:presenceInfo xmlns:p15="http://schemas.microsoft.com/office/powerpoint/2012/main" userId="S::g.vandecoevering-vanherpen@omwb.nl::3d3e7186-4f36-4f14-8529-c2c27cab83f5" providerId="AD"/>
      </p:ext>
    </p:extLst>
  </p:cmAuthor>
  <p:cmAuthor id="3" name="N. Loos" initials="NL" lastIdx="1" clrIdx="2">
    <p:extLst>
      <p:ext uri="{19B8F6BF-5375-455C-9EA6-DF929625EA0E}">
        <p15:presenceInfo xmlns:p15="http://schemas.microsoft.com/office/powerpoint/2012/main" userId="8a322d6b2fb0629d" providerId="Windows Live"/>
      </p:ext>
    </p:extLst>
  </p:cmAuthor>
  <p:cmAuthor id="4" name="Piet Heesakkers" initials="PH" lastIdx="3" clrIdx="3">
    <p:extLst>
      <p:ext uri="{19B8F6BF-5375-455C-9EA6-DF929625EA0E}">
        <p15:presenceInfo xmlns:p15="http://schemas.microsoft.com/office/powerpoint/2012/main" userId="S::p.heesakkers@omwb.nl::b4bf9e62-cae9-4993-8004-4649f108083e" providerId="AD"/>
      </p:ext>
    </p:extLst>
  </p:cmAuthor>
  <p:cmAuthor id="5" name="Jeroen Kemperman" initials="JK" lastIdx="8" clrIdx="4">
    <p:extLst>
      <p:ext uri="{19B8F6BF-5375-455C-9EA6-DF929625EA0E}">
        <p15:presenceInfo xmlns:p15="http://schemas.microsoft.com/office/powerpoint/2012/main" userId="S::j.kemperman@omwb.nl::2b48686a-b92f-41f9-aa2d-7b94e021b918" providerId="AD"/>
      </p:ext>
    </p:extLst>
  </p:cmAuthor>
  <p:cmAuthor id="6" name="Wiardi Biemans" initials="WB" lastIdx="3" clrIdx="5">
    <p:extLst>
      <p:ext uri="{19B8F6BF-5375-455C-9EA6-DF929625EA0E}">
        <p15:presenceInfo xmlns:p15="http://schemas.microsoft.com/office/powerpoint/2012/main" userId="S::w.biemans@omwb.nl::f42c6f12-1640-47cc-8508-6f7c95b773e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8E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A107856-5554-42FB-B03E-39F5DBC370B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Stijl, gemiddeld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Stijl, gemiddeld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505E3EF-67EA-436B-97B2-0124C06EBD24}" styleName="Stijl, gemiddeld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Stijl, gemiddeld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FD0F851-EC5A-4D38-B0AD-8093EC10F338}" styleName="Stijl, licht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Stijl, gemiddeld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-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cco Rentrop" userId="3dd54d67-248a-4e40-a45e-aced6ca328cf" providerId="ADAL" clId="{3DEB5AF6-1FDF-4DA0-A072-4FFDDEA32360}"/>
    <pc:docChg chg="undo custSel delSld modSld">
      <pc:chgData name="Jacco Rentrop" userId="3dd54d67-248a-4e40-a45e-aced6ca328cf" providerId="ADAL" clId="{3DEB5AF6-1FDF-4DA0-A072-4FFDDEA32360}" dt="2022-03-14T15:36:59.496" v="270" actId="20577"/>
      <pc:docMkLst>
        <pc:docMk/>
      </pc:docMkLst>
      <pc:sldChg chg="modSp mod">
        <pc:chgData name="Jacco Rentrop" userId="3dd54d67-248a-4e40-a45e-aced6ca328cf" providerId="ADAL" clId="{3DEB5AF6-1FDF-4DA0-A072-4FFDDEA32360}" dt="2022-03-14T15:27:07.690" v="257" actId="6549"/>
        <pc:sldMkLst>
          <pc:docMk/>
          <pc:sldMk cId="1694877188" sldId="256"/>
        </pc:sldMkLst>
        <pc:spChg chg="mod">
          <ac:chgData name="Jacco Rentrop" userId="3dd54d67-248a-4e40-a45e-aced6ca328cf" providerId="ADAL" clId="{3DEB5AF6-1FDF-4DA0-A072-4FFDDEA32360}" dt="2022-03-14T15:27:07.690" v="257" actId="6549"/>
          <ac:spMkLst>
            <pc:docMk/>
            <pc:sldMk cId="1694877188" sldId="256"/>
            <ac:spMk id="3" creationId="{57BBB2CC-5E62-4719-91E0-4C1FFC94AE1F}"/>
          </ac:spMkLst>
        </pc:spChg>
      </pc:sldChg>
      <pc:sldChg chg="del">
        <pc:chgData name="Jacco Rentrop" userId="3dd54d67-248a-4e40-a45e-aced6ca328cf" providerId="ADAL" clId="{3DEB5AF6-1FDF-4DA0-A072-4FFDDEA32360}" dt="2022-03-14T10:23:57.134" v="74" actId="47"/>
        <pc:sldMkLst>
          <pc:docMk/>
          <pc:sldMk cId="4157938896" sldId="265"/>
        </pc:sldMkLst>
      </pc:sldChg>
      <pc:sldChg chg="delSp mod">
        <pc:chgData name="Jacco Rentrop" userId="3dd54d67-248a-4e40-a45e-aced6ca328cf" providerId="ADAL" clId="{3DEB5AF6-1FDF-4DA0-A072-4FFDDEA32360}" dt="2022-03-14T10:20:33.357" v="9" actId="21"/>
        <pc:sldMkLst>
          <pc:docMk/>
          <pc:sldMk cId="3047972116" sldId="287"/>
        </pc:sldMkLst>
        <pc:spChg chg="del">
          <ac:chgData name="Jacco Rentrop" userId="3dd54d67-248a-4e40-a45e-aced6ca328cf" providerId="ADAL" clId="{3DEB5AF6-1FDF-4DA0-A072-4FFDDEA32360}" dt="2022-03-14T10:20:33.357" v="9" actId="21"/>
          <ac:spMkLst>
            <pc:docMk/>
            <pc:sldMk cId="3047972116" sldId="287"/>
            <ac:spMk id="2" creationId="{610AC303-0AEB-4544-8A01-3F8419FD0A47}"/>
          </ac:spMkLst>
        </pc:spChg>
      </pc:sldChg>
      <pc:sldChg chg="del">
        <pc:chgData name="Jacco Rentrop" userId="3dd54d67-248a-4e40-a45e-aced6ca328cf" providerId="ADAL" clId="{3DEB5AF6-1FDF-4DA0-A072-4FFDDEA32360}" dt="2022-03-14T10:23:24.321" v="72" actId="47"/>
        <pc:sldMkLst>
          <pc:docMk/>
          <pc:sldMk cId="1979432162" sldId="295"/>
        </pc:sldMkLst>
      </pc:sldChg>
      <pc:sldChg chg="del">
        <pc:chgData name="Jacco Rentrop" userId="3dd54d67-248a-4e40-a45e-aced6ca328cf" providerId="ADAL" clId="{3DEB5AF6-1FDF-4DA0-A072-4FFDDEA32360}" dt="2022-03-14T10:23:53.566" v="73" actId="47"/>
        <pc:sldMkLst>
          <pc:docMk/>
          <pc:sldMk cId="1076348853" sldId="296"/>
        </pc:sldMkLst>
      </pc:sldChg>
      <pc:sldChg chg="modSp mod">
        <pc:chgData name="Jacco Rentrop" userId="3dd54d67-248a-4e40-a45e-aced6ca328cf" providerId="ADAL" clId="{3DEB5AF6-1FDF-4DA0-A072-4FFDDEA32360}" dt="2022-03-14T10:21:35.782" v="52" actId="20577"/>
        <pc:sldMkLst>
          <pc:docMk/>
          <pc:sldMk cId="3831223003" sldId="300"/>
        </pc:sldMkLst>
        <pc:spChg chg="mod">
          <ac:chgData name="Jacco Rentrop" userId="3dd54d67-248a-4e40-a45e-aced6ca328cf" providerId="ADAL" clId="{3DEB5AF6-1FDF-4DA0-A072-4FFDDEA32360}" dt="2022-03-14T10:21:35.782" v="52" actId="20577"/>
          <ac:spMkLst>
            <pc:docMk/>
            <pc:sldMk cId="3831223003" sldId="300"/>
            <ac:spMk id="3" creationId="{098D434B-07E3-4CB1-93E8-C74A43AB7D9C}"/>
          </ac:spMkLst>
        </pc:spChg>
      </pc:sldChg>
      <pc:sldChg chg="modSp mod">
        <pc:chgData name="Jacco Rentrop" userId="3dd54d67-248a-4e40-a45e-aced6ca328cf" providerId="ADAL" clId="{3DEB5AF6-1FDF-4DA0-A072-4FFDDEA32360}" dt="2022-03-14T15:36:59.496" v="270" actId="20577"/>
        <pc:sldMkLst>
          <pc:docMk/>
          <pc:sldMk cId="240071081" sldId="306"/>
        </pc:sldMkLst>
        <pc:spChg chg="mod">
          <ac:chgData name="Jacco Rentrop" userId="3dd54d67-248a-4e40-a45e-aced6ca328cf" providerId="ADAL" clId="{3DEB5AF6-1FDF-4DA0-A072-4FFDDEA32360}" dt="2022-03-14T15:36:59.496" v="270" actId="20577"/>
          <ac:spMkLst>
            <pc:docMk/>
            <pc:sldMk cId="240071081" sldId="306"/>
            <ac:spMk id="3" creationId="{098D434B-07E3-4CB1-93E8-C74A43AB7D9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C06EAE6D-A495-4C8E-8839-4490B167593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B0EDFB5-87E9-44CE-B499-FE1D6B8274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14B59-6694-43C5-90BC-9ED17BCD389B}" type="datetimeFigureOut">
              <a:rPr lang="nl-NL" smtClean="0"/>
              <a:t>14-3-2022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1BF8F98-5AF7-4E40-AAF1-ED1DB694F79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C5F60B3-2C02-41A3-83E7-512701A4634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DFAEFE-9415-4860-843B-4444526EE5B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0417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BEFBEA-B5CA-4590-9A10-A45C00AC33A7}" type="datetimeFigureOut">
              <a:rPr lang="nl-NL" smtClean="0"/>
              <a:t>14-3-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5952F6-905B-4C09-A55A-C7A617238C7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02119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EFA64-BB49-4392-9670-4DC1D050B5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53600" y="3013200"/>
            <a:ext cx="5882400" cy="720000"/>
          </a:xfrm>
        </p:spPr>
        <p:txBody>
          <a:bodyPr anchor="t" anchorCtr="0"/>
          <a:lstStyle>
            <a:lvl1pPr algn="l">
              <a:defRPr sz="4200"/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E93B0C4-E019-41C2-95DD-D12EA70679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52606" y="3708000"/>
            <a:ext cx="58824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Ondertitel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2D220022-8D8E-4638-8964-929E0D1047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6" y="0"/>
            <a:ext cx="5848615" cy="6858000"/>
          </a:xfrm>
          <a:prstGeom prst="rect">
            <a:avLst/>
          </a:prstGeom>
        </p:spPr>
      </p:pic>
      <p:sp>
        <p:nvSpPr>
          <p:cNvPr id="19" name="Tijdelijke aanduiding voor dianummer 18">
            <a:extLst>
              <a:ext uri="{FF2B5EF4-FFF2-40B4-BE49-F238E27FC236}">
                <a16:creationId xmlns:a16="http://schemas.microsoft.com/office/drawing/2014/main" id="{136684C7-2EAF-49B6-A934-0D62B572E9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20" name="Tijdelijke aanduiding voor datum 19">
            <a:extLst>
              <a:ext uri="{FF2B5EF4-FFF2-40B4-BE49-F238E27FC236}">
                <a16:creationId xmlns:a16="http://schemas.microsoft.com/office/drawing/2014/main" id="{F0F9A429-3549-4AC0-A989-5392D3DA80C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52606" y="4497684"/>
            <a:ext cx="2743200" cy="36512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pic>
        <p:nvPicPr>
          <p:cNvPr id="22" name="Afbeelding 21">
            <a:extLst>
              <a:ext uri="{FF2B5EF4-FFF2-40B4-BE49-F238E27FC236}">
                <a16:creationId xmlns:a16="http://schemas.microsoft.com/office/drawing/2014/main" id="{AB7437CB-574B-4778-AD7D-2F7D511C3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800" y="5965200"/>
            <a:ext cx="1789180" cy="178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55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tdi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>
            <a:extLst>
              <a:ext uri="{FF2B5EF4-FFF2-40B4-BE49-F238E27FC236}">
                <a16:creationId xmlns:a16="http://schemas.microsoft.com/office/drawing/2014/main" id="{44A86255-46A7-4176-ABAB-AF74F675291D}"/>
              </a:ext>
            </a:extLst>
          </p:cNvPr>
          <p:cNvSpPr/>
          <p:nvPr userDrawn="1"/>
        </p:nvSpPr>
        <p:spPr>
          <a:xfrm>
            <a:off x="3340800" y="4860000"/>
            <a:ext cx="2268000" cy="22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ts val="240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0" i="0" u="none" strike="noStrike" kern="0" baseline="0">
              <a:solidFill>
                <a:srgbClr val="E42312"/>
              </a:solidFill>
              <a:latin typeface="Zilla Slab" pitchFamily="2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0B6B0B2A-EF40-4A1D-8DCE-92FD649413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6400" y="6296400"/>
            <a:ext cx="1245600" cy="124560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CDCC27F0-AB38-4B90-86A9-131A370F602B}"/>
              </a:ext>
            </a:extLst>
          </p:cNvPr>
          <p:cNvSpPr txBox="1"/>
          <p:nvPr userDrawn="1"/>
        </p:nvSpPr>
        <p:spPr>
          <a:xfrm>
            <a:off x="3128250" y="5344495"/>
            <a:ext cx="2693100" cy="1299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Zichtbaar samen </a:t>
            </a:r>
            <a:b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</a:b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werken aan een schone veilige en duurzame leefomgeving</a:t>
            </a:r>
          </a:p>
        </p:txBody>
      </p:sp>
    </p:spTree>
    <p:extLst>
      <p:ext uri="{BB962C8B-B14F-4D97-AF65-F5344CB8AC3E}">
        <p14:creationId xmlns:p14="http://schemas.microsoft.com/office/powerpoint/2010/main" val="2936576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EFA64-BB49-4392-9670-4DC1D050B5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53600" y="3013200"/>
            <a:ext cx="5882400" cy="720000"/>
          </a:xfrm>
        </p:spPr>
        <p:txBody>
          <a:bodyPr anchor="t" anchorCtr="0"/>
          <a:lstStyle>
            <a:lvl1pPr algn="l">
              <a:defRPr sz="4200"/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E93B0C4-E019-41C2-95DD-D12EA70679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52606" y="3708000"/>
            <a:ext cx="58824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Ondertitel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2D220022-8D8E-4638-8964-929E0D1047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5"/>
            <a:ext cx="5852607" cy="6857809"/>
          </a:xfrm>
          <a:prstGeom prst="rect">
            <a:avLst/>
          </a:prstGeom>
        </p:spPr>
      </p:pic>
      <p:sp>
        <p:nvSpPr>
          <p:cNvPr id="19" name="Tijdelijke aanduiding voor dianummer 18">
            <a:extLst>
              <a:ext uri="{FF2B5EF4-FFF2-40B4-BE49-F238E27FC236}">
                <a16:creationId xmlns:a16="http://schemas.microsoft.com/office/drawing/2014/main" id="{136684C7-2EAF-49B6-A934-0D62B572E9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20" name="Tijdelijke aanduiding voor datum 19">
            <a:extLst>
              <a:ext uri="{FF2B5EF4-FFF2-40B4-BE49-F238E27FC236}">
                <a16:creationId xmlns:a16="http://schemas.microsoft.com/office/drawing/2014/main" id="{F0F9A429-3549-4AC0-A989-5392D3DA80C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52606" y="4497684"/>
            <a:ext cx="2743200" cy="36512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pic>
        <p:nvPicPr>
          <p:cNvPr id="22" name="Afbeelding 21">
            <a:extLst>
              <a:ext uri="{FF2B5EF4-FFF2-40B4-BE49-F238E27FC236}">
                <a16:creationId xmlns:a16="http://schemas.microsoft.com/office/drawing/2014/main" id="{AB7437CB-574B-4778-AD7D-2F7D511C3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800" y="5965200"/>
            <a:ext cx="1789180" cy="178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94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EFA64-BB49-4392-9670-4DC1D050B5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53600" y="3013200"/>
            <a:ext cx="5882400" cy="720000"/>
          </a:xfrm>
        </p:spPr>
        <p:txBody>
          <a:bodyPr anchor="t" anchorCtr="0"/>
          <a:lstStyle>
            <a:lvl1pPr algn="l">
              <a:defRPr sz="4200"/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E93B0C4-E019-41C2-95DD-D12EA70679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52606" y="3708000"/>
            <a:ext cx="58824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Ondertitel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2D220022-8D8E-4638-8964-929E0D104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56" y="7203"/>
            <a:ext cx="5847093" cy="6845377"/>
          </a:xfrm>
          <a:prstGeom prst="rect">
            <a:avLst/>
          </a:prstGeom>
        </p:spPr>
      </p:pic>
      <p:sp>
        <p:nvSpPr>
          <p:cNvPr id="19" name="Tijdelijke aanduiding voor dianummer 18">
            <a:extLst>
              <a:ext uri="{FF2B5EF4-FFF2-40B4-BE49-F238E27FC236}">
                <a16:creationId xmlns:a16="http://schemas.microsoft.com/office/drawing/2014/main" id="{136684C7-2EAF-49B6-A934-0D62B572E9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20" name="Tijdelijke aanduiding voor datum 19">
            <a:extLst>
              <a:ext uri="{FF2B5EF4-FFF2-40B4-BE49-F238E27FC236}">
                <a16:creationId xmlns:a16="http://schemas.microsoft.com/office/drawing/2014/main" id="{F0F9A429-3549-4AC0-A989-5392D3DA80C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52606" y="4497684"/>
            <a:ext cx="2743200" cy="36512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pic>
        <p:nvPicPr>
          <p:cNvPr id="22" name="Afbeelding 21">
            <a:extLst>
              <a:ext uri="{FF2B5EF4-FFF2-40B4-BE49-F238E27FC236}">
                <a16:creationId xmlns:a16="http://schemas.microsoft.com/office/drawing/2014/main" id="{AB7437CB-574B-4778-AD7D-2F7D511C3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800" y="5965200"/>
            <a:ext cx="1789180" cy="178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54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EFA64-BB49-4392-9670-4DC1D050B5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53600" y="3013200"/>
            <a:ext cx="5882400" cy="720000"/>
          </a:xfrm>
        </p:spPr>
        <p:txBody>
          <a:bodyPr anchor="t" anchorCtr="0"/>
          <a:lstStyle>
            <a:lvl1pPr algn="l">
              <a:defRPr sz="4200"/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E93B0C4-E019-41C2-95DD-D12EA70679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52606" y="3708000"/>
            <a:ext cx="58824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Ondertitel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2D220022-8D8E-4638-8964-929E0D1047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6" y="1784"/>
            <a:ext cx="5847093" cy="6856215"/>
          </a:xfrm>
          <a:prstGeom prst="rect">
            <a:avLst/>
          </a:prstGeom>
        </p:spPr>
      </p:pic>
      <p:sp>
        <p:nvSpPr>
          <p:cNvPr id="19" name="Tijdelijke aanduiding voor dianummer 18">
            <a:extLst>
              <a:ext uri="{FF2B5EF4-FFF2-40B4-BE49-F238E27FC236}">
                <a16:creationId xmlns:a16="http://schemas.microsoft.com/office/drawing/2014/main" id="{136684C7-2EAF-49B6-A934-0D62B572E9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20" name="Tijdelijke aanduiding voor datum 19">
            <a:extLst>
              <a:ext uri="{FF2B5EF4-FFF2-40B4-BE49-F238E27FC236}">
                <a16:creationId xmlns:a16="http://schemas.microsoft.com/office/drawing/2014/main" id="{F0F9A429-3549-4AC0-A989-5392D3DA80C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852606" y="4497684"/>
            <a:ext cx="2743200" cy="365125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pic>
        <p:nvPicPr>
          <p:cNvPr id="22" name="Afbeelding 21">
            <a:extLst>
              <a:ext uri="{FF2B5EF4-FFF2-40B4-BE49-F238E27FC236}">
                <a16:creationId xmlns:a16="http://schemas.microsoft.com/office/drawing/2014/main" id="{AB7437CB-574B-4778-AD7D-2F7D511C3D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2800" y="5965200"/>
            <a:ext cx="1789180" cy="178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07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7B99C8-D63B-42E0-97D5-144F50E89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F7B2768-ED80-48C4-8C8E-F6CC78146C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2376363"/>
            <a:ext cx="11019600" cy="3756140"/>
          </a:xfrm>
        </p:spPr>
        <p:txBody>
          <a:bodyPr/>
          <a:lstStyle>
            <a:lvl1pPr marL="177800" indent="-177800">
              <a:defRPr/>
            </a:lvl1pPr>
            <a:lvl2pPr marL="354013" indent="-176213">
              <a:defRPr lang="nl-NL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7325">
              <a:defRPr lang="nl-NL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77800">
              <a:defRPr lang="nl-NL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2175" indent="-177800">
              <a:defRPr lang="nl-NL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7800" lvl="0" indent="-177800" algn="l" defTabSz="914400" rtl="0" eaLnBrk="1" latinLnBrk="0" hangingPunct="1">
              <a:lnSpc>
                <a:spcPts val="29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Char char="●"/>
            </a:pPr>
            <a:r>
              <a:rPr lang="nl-NL"/>
              <a:t>Klikken om de tekststijl van het model te bewerken</a:t>
            </a:r>
          </a:p>
          <a:p>
            <a:pPr marL="177800" lvl="1" indent="-177800" algn="l" defTabSz="914400" rtl="0" eaLnBrk="1" latinLnBrk="0" hangingPunct="1">
              <a:lnSpc>
                <a:spcPts val="29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Char char="●"/>
            </a:pPr>
            <a:r>
              <a:rPr lang="nl-NL"/>
              <a:t>Tweede niveau</a:t>
            </a:r>
          </a:p>
          <a:p>
            <a:pPr marL="177800" lvl="2" indent="-177800" algn="l" defTabSz="914400" rtl="0" eaLnBrk="1" latinLnBrk="0" hangingPunct="1">
              <a:lnSpc>
                <a:spcPts val="29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Char char="●"/>
            </a:pPr>
            <a:r>
              <a:rPr lang="nl-NL"/>
              <a:t>Derde niveau</a:t>
            </a:r>
          </a:p>
          <a:p>
            <a:pPr marL="177800" lvl="3" indent="-177800" algn="l" defTabSz="914400" rtl="0" eaLnBrk="1" latinLnBrk="0" hangingPunct="1">
              <a:lnSpc>
                <a:spcPts val="29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Char char="●"/>
            </a:pPr>
            <a:r>
              <a:rPr lang="nl-NL"/>
              <a:t>Vierde niveau</a:t>
            </a:r>
          </a:p>
          <a:p>
            <a:pPr marL="177800" lvl="4" indent="-177800" algn="l" defTabSz="914400" rtl="0" eaLnBrk="1" latinLnBrk="0" hangingPunct="1">
              <a:lnSpc>
                <a:spcPts val="29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Verdana" panose="020B0604030504040204" pitchFamily="34" charset="0"/>
              <a:buChar char="●"/>
            </a:pPr>
            <a:r>
              <a:rPr lang="nl-NL"/>
              <a:t>Vijfde niveau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19C47DA3-BECB-4FB1-850B-AD8BA57FD1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15E9CF3-761C-4CD4-A354-B081B53A26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000" y="6213600"/>
            <a:ext cx="1786132" cy="1786132"/>
          </a:xfrm>
          <a:prstGeom prst="rect">
            <a:avLst/>
          </a:prstGeom>
        </p:spPr>
      </p:pic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2563BD1-F688-49A5-BDC2-68D4B9E03D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25" y="2016000"/>
            <a:ext cx="11018838" cy="36036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l-NL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2136229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D75CDD-EEC4-4FF9-9B47-DDA5BCFA0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EBA5165-A5B1-4867-AA20-3637874CEA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5" name="Tijdelijke aanduiding voor tabel 4">
            <a:extLst>
              <a:ext uri="{FF2B5EF4-FFF2-40B4-BE49-F238E27FC236}">
                <a16:creationId xmlns:a16="http://schemas.microsoft.com/office/drawing/2014/main" id="{85E12356-0EBA-4E7E-8B03-426743C5D66B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20725" y="1918800"/>
            <a:ext cx="6836400" cy="3412800"/>
          </a:xfrm>
        </p:spPr>
        <p:txBody>
          <a:bodyPr/>
          <a:lstStyle/>
          <a:p>
            <a:r>
              <a:rPr lang="nl-NL"/>
              <a:t>Klik op het pictogram als u een tabel wilt toevoegen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86B2FF38-CCFA-47B6-AB0A-C545E6684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000" y="6213600"/>
            <a:ext cx="1786132" cy="1786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867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tdia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>
            <a:extLst>
              <a:ext uri="{FF2B5EF4-FFF2-40B4-BE49-F238E27FC236}">
                <a16:creationId xmlns:a16="http://schemas.microsoft.com/office/drawing/2014/main" id="{44A86255-46A7-4176-ABAB-AF74F675291D}"/>
              </a:ext>
            </a:extLst>
          </p:cNvPr>
          <p:cNvSpPr/>
          <p:nvPr userDrawn="1"/>
        </p:nvSpPr>
        <p:spPr>
          <a:xfrm>
            <a:off x="930975" y="4860000"/>
            <a:ext cx="2268000" cy="22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ts val="240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550" b="0" i="0" u="none" strike="noStrike" baseline="0">
              <a:solidFill>
                <a:srgbClr val="E42312"/>
              </a:solidFill>
              <a:latin typeface="Zilla Slab" pitchFamily="2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0B6B0B2A-EF40-4A1D-8DCE-92FD649413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6575" y="6296400"/>
            <a:ext cx="1245600" cy="124560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D039ADC8-963F-4DD9-925F-F53BD1EE7DBA}"/>
              </a:ext>
            </a:extLst>
          </p:cNvPr>
          <p:cNvSpPr txBox="1"/>
          <p:nvPr userDrawn="1"/>
        </p:nvSpPr>
        <p:spPr>
          <a:xfrm>
            <a:off x="684375" y="5344495"/>
            <a:ext cx="2693100" cy="1299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Zichtbaar samen </a:t>
            </a:r>
            <a:b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</a:b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werken aan een schone veilige en duurzame leefomgeving</a:t>
            </a:r>
          </a:p>
        </p:txBody>
      </p:sp>
    </p:spTree>
    <p:extLst>
      <p:ext uri="{BB962C8B-B14F-4D97-AF65-F5344CB8AC3E}">
        <p14:creationId xmlns:p14="http://schemas.microsoft.com/office/powerpoint/2010/main" val="608737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tdia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al 3">
            <a:extLst>
              <a:ext uri="{FF2B5EF4-FFF2-40B4-BE49-F238E27FC236}">
                <a16:creationId xmlns:a16="http://schemas.microsoft.com/office/drawing/2014/main" id="{44A86255-46A7-4176-ABAB-AF74F675291D}"/>
              </a:ext>
            </a:extLst>
          </p:cNvPr>
          <p:cNvSpPr/>
          <p:nvPr userDrawn="1"/>
        </p:nvSpPr>
        <p:spPr>
          <a:xfrm>
            <a:off x="446400" y="457200"/>
            <a:ext cx="2268000" cy="2268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ts val="240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sz="1600" b="0" i="0" u="none" strike="noStrike" baseline="0">
              <a:solidFill>
                <a:srgbClr val="E42312"/>
              </a:solidFill>
              <a:latin typeface="Zilla Slab" pitchFamily="2" charset="0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0B6B0B2A-EF40-4A1D-8DCE-92FD649413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3200" y="1893600"/>
            <a:ext cx="1245600" cy="124560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C6E920C1-F529-4DD5-A482-D34C201FC4FE}"/>
              </a:ext>
            </a:extLst>
          </p:cNvPr>
          <p:cNvSpPr txBox="1"/>
          <p:nvPr userDrawn="1"/>
        </p:nvSpPr>
        <p:spPr>
          <a:xfrm>
            <a:off x="233850" y="941695"/>
            <a:ext cx="2693100" cy="1299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Zichtbaar samen </a:t>
            </a:r>
            <a:b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</a:br>
            <a:r>
              <a:rPr lang="nl-NL" sz="1600" b="0" i="0" u="none" strike="noStrike" baseline="0">
                <a:solidFill>
                  <a:srgbClr val="E42312"/>
                </a:solidFill>
                <a:latin typeface="Zilla Slab" pitchFamily="2" charset="0"/>
              </a:rPr>
              <a:t>werken aan een schone veilige en duurzame leefomgeving</a:t>
            </a:r>
          </a:p>
        </p:txBody>
      </p:sp>
    </p:spTree>
    <p:extLst>
      <p:ext uri="{BB962C8B-B14F-4D97-AF65-F5344CB8AC3E}">
        <p14:creationId xmlns:p14="http://schemas.microsoft.com/office/powerpoint/2010/main" val="1091725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tdi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1CD137E8-364E-4CFC-ADC5-5D374E391374}"/>
              </a:ext>
            </a:extLst>
          </p:cNvPr>
          <p:cNvGrpSpPr/>
          <p:nvPr userDrawn="1"/>
        </p:nvGrpSpPr>
        <p:grpSpPr>
          <a:xfrm>
            <a:off x="9518400" y="-205200"/>
            <a:ext cx="2768550" cy="3168000"/>
            <a:chOff x="1116000" y="-205200"/>
            <a:chExt cx="2768550" cy="3168000"/>
          </a:xfrm>
        </p:grpSpPr>
        <p:sp>
          <p:nvSpPr>
            <p:cNvPr id="4" name="Ovaal 3">
              <a:extLst>
                <a:ext uri="{FF2B5EF4-FFF2-40B4-BE49-F238E27FC236}">
                  <a16:creationId xmlns:a16="http://schemas.microsoft.com/office/drawing/2014/main" id="{44A86255-46A7-4176-ABAB-AF74F675291D}"/>
                </a:ext>
              </a:extLst>
            </p:cNvPr>
            <p:cNvSpPr/>
            <p:nvPr userDrawn="1"/>
          </p:nvSpPr>
          <p:spPr>
            <a:xfrm>
              <a:off x="1404000" y="694800"/>
              <a:ext cx="2268000" cy="226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40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nl-NL" sz="1600" b="0" i="0" u="none" strike="noStrike" kern="0" baseline="0">
                <a:solidFill>
                  <a:srgbClr val="E42312"/>
                </a:solidFill>
                <a:latin typeface="Zilla Slab" pitchFamily="2" charset="0"/>
              </a:endParaRPr>
            </a:p>
          </p:txBody>
        </p:sp>
        <p:pic>
          <p:nvPicPr>
            <p:cNvPr id="6" name="Afbeelding 5">
              <a:extLst>
                <a:ext uri="{FF2B5EF4-FFF2-40B4-BE49-F238E27FC236}">
                  <a16:creationId xmlns:a16="http://schemas.microsoft.com/office/drawing/2014/main" id="{0B6B0B2A-EF40-4A1D-8DCE-92FD649413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6000" y="-205200"/>
              <a:ext cx="1245600" cy="1245600"/>
            </a:xfrm>
            <a:prstGeom prst="rect">
              <a:avLst/>
            </a:prstGeom>
          </p:spPr>
        </p:pic>
        <p:sp>
          <p:nvSpPr>
            <p:cNvPr id="2" name="Tekstvak 1">
              <a:extLst>
                <a:ext uri="{FF2B5EF4-FFF2-40B4-BE49-F238E27FC236}">
                  <a16:creationId xmlns:a16="http://schemas.microsoft.com/office/drawing/2014/main" id="{F56ADE50-3168-45D5-A7A1-98B384C089A5}"/>
                </a:ext>
              </a:extLst>
            </p:cNvPr>
            <p:cNvSpPr txBox="1"/>
            <p:nvPr userDrawn="1"/>
          </p:nvSpPr>
          <p:spPr>
            <a:xfrm>
              <a:off x="1191450" y="1179295"/>
              <a:ext cx="2693100" cy="12990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24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l-NL" sz="1600" b="0" i="0" u="none" strike="noStrike" baseline="0">
                  <a:solidFill>
                    <a:srgbClr val="E42312"/>
                  </a:solidFill>
                  <a:latin typeface="Zilla Slab" pitchFamily="2" charset="0"/>
                </a:rPr>
                <a:t>Zichtbaar samen </a:t>
              </a:r>
              <a:br>
                <a:rPr lang="nl-NL" sz="1600" b="0" i="0" u="none" strike="noStrike" baseline="0">
                  <a:solidFill>
                    <a:srgbClr val="E42312"/>
                  </a:solidFill>
                  <a:latin typeface="Zilla Slab" pitchFamily="2" charset="0"/>
                </a:rPr>
              </a:br>
              <a:r>
                <a:rPr lang="nl-NL" sz="1600" b="0" i="0" u="none" strike="noStrike" baseline="0">
                  <a:solidFill>
                    <a:srgbClr val="E42312"/>
                  </a:solidFill>
                  <a:latin typeface="Zilla Slab" pitchFamily="2" charset="0"/>
                </a:rPr>
                <a:t>werken aan een schone veilige en duurzame leefomgev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3388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3C17AC-F2B4-4CBA-BC4F-EBBB45CFD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47424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3C17AC-F2B4-4CBA-BC4F-EBBB45CFD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70E9866C-D936-464D-AA88-D7CF4A31BB46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2800" b="0" i="0" baseline="0">
              <a:latin typeface="Zilla Slab"/>
              <a:ea typeface="+mj-ea"/>
              <a:cs typeface="+mj-cs"/>
              <a:sym typeface="Zilla Slab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7FE73F9F-18FB-4E80-A015-C0F1FD56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342800"/>
            <a:ext cx="11019600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6AAC940-0BD0-4495-A819-AB8085583D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000" y="2016000"/>
            <a:ext cx="11019600" cy="4116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2A8042C3-77B7-41FF-902A-C444C373259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400" y="338400"/>
            <a:ext cx="2599200" cy="543492"/>
          </a:xfrm>
          <a:prstGeom prst="rect">
            <a:avLst/>
          </a:prstGeom>
        </p:spPr>
      </p:pic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4B08E91F-CFCE-4E86-A49F-BB094677C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57200" y="6400799"/>
            <a:ext cx="1382400" cy="45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30CB272B-080A-4A59-89E0-9C119E01112C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1340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63" r:id="rId6"/>
    <p:sldLayoutId id="2147483664" r:id="rId7"/>
    <p:sldLayoutId id="2147483665" r:id="rId8"/>
    <p:sldLayoutId id="2147483666" r:id="rId9"/>
    <p:sldLayoutId id="2147483667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213" indent="-176213" algn="l" defTabSz="914400" rtl="0" eaLnBrk="1" latinLnBrk="0" hangingPunct="1">
        <a:lnSpc>
          <a:spcPts val="2900"/>
        </a:lnSpc>
        <a:spcBef>
          <a:spcPts val="1000"/>
        </a:spcBef>
        <a:buClr>
          <a:schemeClr val="accent1"/>
        </a:buClr>
        <a:buFont typeface="Verdana" panose="020B0604030504040204" pitchFamily="34" charset="0"/>
        <a:buChar char="●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77800" algn="l" defTabSz="914400" rtl="0" eaLnBrk="1" latinLnBrk="0" hangingPunct="1">
        <a:lnSpc>
          <a:spcPts val="2900"/>
        </a:lnSpc>
        <a:spcBef>
          <a:spcPts val="0"/>
        </a:spcBef>
        <a:buClr>
          <a:schemeClr val="accent1"/>
        </a:buClr>
        <a:buSzPct val="10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6213" algn="l" defTabSz="914400" rtl="0" eaLnBrk="1" latinLnBrk="0" hangingPunct="1">
        <a:lnSpc>
          <a:spcPts val="2900"/>
        </a:lnSpc>
        <a:spcBef>
          <a:spcPts val="0"/>
        </a:spcBef>
        <a:buClr>
          <a:schemeClr val="accent1"/>
        </a:buClr>
        <a:buSzPct val="10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7325" algn="l" defTabSz="914400" rtl="0" eaLnBrk="1" latinLnBrk="0" hangingPunct="1">
        <a:lnSpc>
          <a:spcPts val="2900"/>
        </a:lnSpc>
        <a:spcBef>
          <a:spcPts val="0"/>
        </a:spcBef>
        <a:buClr>
          <a:schemeClr val="accent1"/>
        </a:buClr>
        <a:buSzPct val="10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2175" indent="-177800" algn="l" defTabSz="914400" rtl="0" eaLnBrk="1" latinLnBrk="0" hangingPunct="1">
        <a:lnSpc>
          <a:spcPts val="2900"/>
        </a:lnSpc>
        <a:spcBef>
          <a:spcPts val="0"/>
        </a:spcBef>
        <a:buClr>
          <a:schemeClr val="accent1"/>
        </a:buClr>
        <a:buSzPct val="100000"/>
        <a:buFont typeface="Verdana" panose="020B0604030504040204" pitchFamily="34" charset="0"/>
        <a:buChar char="●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2C9C7D2-D2FB-4F9B-90B0-E8F999DF1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963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2C9C7D2-D2FB-4F9B-90B0-E8F999DF1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57BBB2CC-5E62-4719-91E0-4C1FFC94AE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64282" y="3013200"/>
            <a:ext cx="6571718" cy="2869126"/>
          </a:xfrm>
        </p:spPr>
        <p:txBody>
          <a:bodyPr/>
          <a:lstStyle/>
          <a:p>
            <a:r>
              <a:rPr lang="nl-NL" sz="3600" dirty="0"/>
              <a:t>Ervaringen in het relatie/ </a:t>
            </a:r>
            <a:br>
              <a:rPr lang="nl-NL" sz="3600" dirty="0"/>
            </a:br>
            <a:r>
              <a:rPr lang="nl-NL" sz="3600" dirty="0"/>
              <a:t>accountmanagement</a:t>
            </a:r>
            <a:br>
              <a:rPr lang="nl-NL" sz="3600" dirty="0"/>
            </a:br>
            <a:br>
              <a:rPr lang="nl-NL" sz="3600" dirty="0"/>
            </a:br>
            <a:br>
              <a:rPr lang="nl-NL" sz="3600" dirty="0"/>
            </a:br>
            <a:br>
              <a:rPr lang="nl-NL" sz="1600" dirty="0"/>
            </a:br>
            <a:r>
              <a:rPr lang="nl-NL" sz="1600" dirty="0"/>
              <a:t>					Jacco Rentrop</a:t>
            </a:r>
            <a:br>
              <a:rPr lang="nl-NL" sz="1600" dirty="0"/>
            </a:br>
            <a:r>
              <a:rPr lang="nl-NL" sz="1600" dirty="0"/>
              <a:t>					Accountmanager </a:t>
            </a:r>
            <a:br>
              <a:rPr lang="nl-NL" dirty="0"/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948771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94A4D497-D3F0-41EE-A9F9-6D60D927F6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884284"/>
            <a:ext cx="11019600" cy="3756140"/>
          </a:xfrm>
        </p:spPr>
        <p:txBody>
          <a:bodyPr/>
          <a:lstStyle/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			</a:t>
            </a:r>
            <a:r>
              <a:rPr lang="nl-NL" sz="3200" b="1" dirty="0"/>
              <a:t>‘Het goede gesprek’ </a:t>
            </a:r>
          </a:p>
          <a:p>
            <a:pPr marL="0" indent="0">
              <a:buNone/>
            </a:pPr>
            <a:endParaRPr lang="nl-NL" sz="3200" b="1" dirty="0"/>
          </a:p>
          <a:p>
            <a:pPr marL="0" indent="0">
              <a:buNone/>
            </a:pPr>
            <a:r>
              <a:rPr lang="nl-NL" sz="3200" b="1" dirty="0"/>
              <a:t>	tussen opdrachtgever en opdrachtnemer;  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24B3363-11D6-400D-99C8-1208A7C8EB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2</a:t>
            </a:fld>
            <a:endParaRPr lang="nl-NL"/>
          </a:p>
        </p:txBody>
      </p:sp>
      <p:pic>
        <p:nvPicPr>
          <p:cNvPr id="6" name="Afbeelding 5" descr="H:\Mijn Documenten\Mijn Afbeeldingen\naamloos.png">
            <a:extLst>
              <a:ext uri="{FF2B5EF4-FFF2-40B4-BE49-F238E27FC236}">
                <a16:creationId xmlns:a16="http://schemas.microsoft.com/office/drawing/2014/main" id="{2E0AB105-B0AA-4989-936C-7A4EB1E0AD1A}"/>
              </a:ext>
            </a:extLst>
          </p:cNvPr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75025" y="2012129"/>
            <a:ext cx="331236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6348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9CDFB0-506F-419F-8465-830FE1DFD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200" y="545497"/>
            <a:ext cx="11019600" cy="360000"/>
          </a:xfrm>
        </p:spPr>
        <p:txBody>
          <a:bodyPr/>
          <a:lstStyle/>
          <a:p>
            <a:r>
              <a:rPr lang="nl-NL" dirty="0"/>
              <a:t>Professioneel opdrachtgever- en opdrachtgeverschap: 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877B947-4B1D-4CED-A2D8-81BAB212F2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41" y="1719415"/>
            <a:ext cx="11019600" cy="3756140"/>
          </a:xfrm>
        </p:spPr>
        <p:txBody>
          <a:bodyPr/>
          <a:lstStyle/>
          <a:p>
            <a:r>
              <a:rPr lang="nl-NL" dirty="0"/>
              <a:t>‘Harde’ dimensie: regels, systemen en procedures zijn geregeld;</a:t>
            </a:r>
          </a:p>
          <a:p>
            <a:r>
              <a:rPr lang="nl-NL" dirty="0"/>
              <a:t>‘Zachte’ dimensie: we hebben het goede gesprek </a:t>
            </a:r>
          </a:p>
          <a:p>
            <a:r>
              <a:rPr lang="nl-NL" dirty="0"/>
              <a:t>3 T-rapportages: T1 en T2 om (bij) te sturen. T3 jaarverantwoording</a:t>
            </a:r>
          </a:p>
          <a:p>
            <a:r>
              <a:rPr lang="nl-NL" dirty="0"/>
              <a:t>Periodiek accountoverleg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E551358-DACA-40CC-9A22-2B88B48DE5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74E0921-5600-4E6C-8A52-4E24E2120D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703" y="1280566"/>
            <a:ext cx="11018838" cy="360363"/>
          </a:xfrm>
        </p:spPr>
        <p:txBody>
          <a:bodyPr/>
          <a:lstStyle/>
          <a:p>
            <a:r>
              <a:rPr lang="nl-NL" dirty="0"/>
              <a:t>Wat is daar voor nodig? Hoe doen wij dat?</a:t>
            </a:r>
          </a:p>
        </p:txBody>
      </p:sp>
    </p:spTree>
    <p:extLst>
      <p:ext uri="{BB962C8B-B14F-4D97-AF65-F5344CB8AC3E}">
        <p14:creationId xmlns:p14="http://schemas.microsoft.com/office/powerpoint/2010/main" val="12749239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876E9D7-552D-4600-80FD-4A618D5E7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801262"/>
            <a:ext cx="11019600" cy="360000"/>
          </a:xfrm>
        </p:spPr>
        <p:txBody>
          <a:bodyPr/>
          <a:lstStyle/>
          <a:p>
            <a:r>
              <a:rPr lang="nl-NL" sz="2800" dirty="0"/>
              <a:t>Zachte dimensie: goede gesprek, effectief gedrag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44C9DDA-4465-4D13-B4E7-D116E6FD7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161262"/>
            <a:ext cx="11019600" cy="4895476"/>
          </a:xfrm>
        </p:spPr>
        <p:txBody>
          <a:bodyPr/>
          <a:lstStyle/>
          <a:p>
            <a:endParaRPr lang="nl-NL" dirty="0"/>
          </a:p>
          <a:p>
            <a:pPr lvl="4"/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r>
              <a:rPr lang="nl-NL" sz="1600" dirty="0"/>
              <a:t>Escalatieladder: welk instrument/gedrag bij welke situatie </a:t>
            </a:r>
          </a:p>
          <a:p>
            <a:r>
              <a:rPr lang="nl-NL" sz="1600" dirty="0"/>
              <a:t>Voorbeeld: hoe je effectief kunt zijn in de relatie. Hoe blijf ik in verbinding? Niet primair (</a:t>
            </a:r>
            <a:r>
              <a:rPr lang="nl-NL" sz="1600" dirty="0" err="1"/>
              <a:t>be</a:t>
            </a:r>
            <a:r>
              <a:rPr lang="nl-NL" sz="1600" dirty="0"/>
              <a:t>)oordelen, maar een vraag stellen (wat vind je zelf van de geleverde verantwoording?)</a:t>
            </a:r>
          </a:p>
          <a:p>
            <a:r>
              <a:rPr lang="nl-NL" sz="1600" dirty="0"/>
              <a:t> Onderling vertrouwen en commitment bepalen succes in een relatie. Niet vanzelfsprekend. Steeds op zoek gaan naar consensus is essentieel </a:t>
            </a:r>
            <a:br>
              <a:rPr lang="nl-NL" sz="1600" dirty="0"/>
            </a:br>
            <a:endParaRPr lang="nl-NL" dirty="0"/>
          </a:p>
          <a:p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11C2141-37F3-4DF7-81B7-A03BA35638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4</a:t>
            </a:fld>
            <a:endParaRPr lang="nl-NL"/>
          </a:p>
        </p:txBody>
      </p:sp>
      <p:pic>
        <p:nvPicPr>
          <p:cNvPr id="6" name="Picture 2" descr="H:\Mijn Documenten\Mijn Afbeeldingen\ly12147_gereedschapskist_met_echt_gereedschap_micki.jpg">
            <a:extLst>
              <a:ext uri="{FF2B5EF4-FFF2-40B4-BE49-F238E27FC236}">
                <a16:creationId xmlns:a16="http://schemas.microsoft.com/office/drawing/2014/main" id="{508E0D2B-FF11-4D4B-934E-E0EB722907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03593" y="1431047"/>
            <a:ext cx="3155045" cy="21040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930160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B956AA9-529C-495A-8366-39F428D8D0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967607"/>
            <a:ext cx="11019600" cy="3756140"/>
          </a:xfrm>
        </p:spPr>
        <p:txBody>
          <a:bodyPr/>
          <a:lstStyle/>
          <a:p>
            <a:endParaRPr lang="nl-NL" sz="1600" dirty="0"/>
          </a:p>
          <a:p>
            <a:r>
              <a:rPr lang="nl-NL" sz="1600" dirty="0"/>
              <a:t>Vereist eerlijkheid, veiligheid, transparantie, zelfreflectie (</a:t>
            </a:r>
            <a:r>
              <a:rPr lang="nl-NL" sz="1600" dirty="0" err="1"/>
              <a:t>zelf-reinigend</a:t>
            </a:r>
            <a:r>
              <a:rPr lang="nl-NL" sz="1600" dirty="0"/>
              <a:t> vermogen, moed/kwetsbaar opstellen)</a:t>
            </a:r>
          </a:p>
          <a:p>
            <a:r>
              <a:rPr lang="nl-NL" sz="1600" dirty="0"/>
              <a:t>Vereist inlevingsvermogen in de ander, vermogen om te hybridiseren</a:t>
            </a:r>
          </a:p>
          <a:p>
            <a:r>
              <a:rPr lang="nl-NL" sz="1600" dirty="0"/>
              <a:t>Vraagt om bepaalde competenties: verbindend, politiek bestuurlijk sensitief, omgevingsbewust, </a:t>
            </a:r>
            <a:r>
              <a:rPr lang="nl-NL" sz="1600" dirty="0" err="1"/>
              <a:t>etc</a:t>
            </a:r>
            <a:r>
              <a:rPr lang="nl-NL" sz="1600" dirty="0">
                <a:solidFill>
                  <a:srgbClr val="FF0000"/>
                </a:solidFill>
              </a:rPr>
              <a:t> </a:t>
            </a:r>
            <a:br>
              <a:rPr lang="nl-NL" sz="1600" dirty="0">
                <a:solidFill>
                  <a:srgbClr val="FF0000"/>
                </a:solidFill>
              </a:rPr>
            </a:br>
            <a:br>
              <a:rPr lang="nl-NL" sz="1600" dirty="0">
                <a:solidFill>
                  <a:srgbClr val="FF0000"/>
                </a:solidFill>
              </a:rPr>
            </a:br>
            <a:r>
              <a:rPr lang="nl-NL" dirty="0"/>
              <a:t> </a:t>
            </a:r>
          </a:p>
          <a:p>
            <a:pPr lvl="1"/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691097B-9180-4553-96C1-D9CB74AAC5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7972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0EACAE-5495-403C-9083-637DEAD78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14789"/>
            <a:ext cx="11019600" cy="360000"/>
          </a:xfrm>
        </p:spPr>
        <p:txBody>
          <a:bodyPr/>
          <a:lstStyle/>
          <a:p>
            <a:r>
              <a:rPr lang="nl-NL" sz="2800"/>
              <a:t>Wederkerigheid in OG/ON-schap (2 to tango)</a:t>
            </a:r>
            <a:br>
              <a:rPr lang="nl-NL" sz="2800"/>
            </a:br>
            <a:br>
              <a:rPr lang="nl-NL" sz="2800"/>
            </a:br>
            <a:endParaRPr lang="nl-NL" sz="2800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98D434B-07E3-4CB1-93E8-C74A43AB7D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238" y="2009724"/>
            <a:ext cx="11019600" cy="3756140"/>
          </a:xfrm>
        </p:spPr>
        <p:txBody>
          <a:bodyPr/>
          <a:lstStyle/>
          <a:p>
            <a:endParaRPr lang="nl-NL" sz="1600" dirty="0"/>
          </a:p>
          <a:p>
            <a:r>
              <a:rPr lang="nl-NL" sz="1600" dirty="0"/>
              <a:t>Vraagt om andere manier van vasthouden, maar dit = niet loslaten</a:t>
            </a:r>
          </a:p>
          <a:p>
            <a:endParaRPr lang="nl-NL" dirty="0"/>
          </a:p>
          <a:p>
            <a:pPr lvl="7"/>
            <a:endParaRPr lang="nl-NL" dirty="0"/>
          </a:p>
          <a:p>
            <a:endParaRPr lang="nl-NL" dirty="0"/>
          </a:p>
          <a:p>
            <a:endParaRPr lang="nl-NL" sz="1600" dirty="0"/>
          </a:p>
          <a:p>
            <a:endParaRPr lang="nl-NL" sz="1600" dirty="0"/>
          </a:p>
          <a:p>
            <a:r>
              <a:rPr lang="nl-NL" sz="1600" dirty="0"/>
              <a:t>Voorbeeld: model zandloper -&gt; bij OMWB en deelnemer(s).</a:t>
            </a:r>
            <a:br>
              <a:rPr lang="nl-NL" sz="1600" dirty="0"/>
            </a:br>
            <a:br>
              <a:rPr lang="nl-NL" sz="1600" dirty="0"/>
            </a:b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4C2D2B8-C5A5-45E0-A0E1-F86098A3CF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861737A-A0F8-42D4-926D-1C18D569A4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000" y="1595448"/>
            <a:ext cx="11018838" cy="360363"/>
          </a:xfrm>
        </p:spPr>
        <p:txBody>
          <a:bodyPr/>
          <a:lstStyle/>
          <a:p>
            <a:r>
              <a:rPr lang="nl-NL" dirty="0"/>
              <a:t>Uitgangspunten:</a:t>
            </a:r>
          </a:p>
        </p:txBody>
      </p:sp>
      <p:pic>
        <p:nvPicPr>
          <p:cNvPr id="6" name="Afbeelding 5" descr="2080034b.jpg">
            <a:extLst>
              <a:ext uri="{FF2B5EF4-FFF2-40B4-BE49-F238E27FC236}">
                <a16:creationId xmlns:a16="http://schemas.microsoft.com/office/drawing/2014/main" id="{FE708044-6245-463C-91EE-D1834D8865A5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056757" y="3079179"/>
            <a:ext cx="2304256" cy="20882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31223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98D434B-07E3-4CB1-93E8-C74A43AB7D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238" y="2009724"/>
            <a:ext cx="11019600" cy="3756140"/>
          </a:xfrm>
        </p:spPr>
        <p:txBody>
          <a:bodyPr/>
          <a:lstStyle/>
          <a:p>
            <a:r>
              <a:rPr lang="nl-NL" sz="1600" dirty="0"/>
              <a:t>Scharnierfunctie: Informatiestromen van deelnemer(s) en OMWB verlopen via kruispunt van accountmanagement</a:t>
            </a:r>
          </a:p>
          <a:p>
            <a:r>
              <a:rPr lang="nl-NL" sz="1600" dirty="0"/>
              <a:t>Nodig om: verantwoordelijkheid te kunnen pakken en waarmaken, elkaar in positie brengen intern (dienst) en extern (OG-ON)</a:t>
            </a:r>
          </a:p>
          <a:p>
            <a:r>
              <a:rPr lang="nl-NL" dirty="0"/>
              <a:t>O</a:t>
            </a:r>
            <a:r>
              <a:rPr lang="nl-NL" sz="1600" dirty="0"/>
              <a:t>ntsluiten opdracht- en verantwoordingscyclus: Cijfers OG en ON sluiten aan. Check op elkaar</a:t>
            </a:r>
          </a:p>
          <a:p>
            <a:r>
              <a:rPr lang="nl-NL"/>
              <a:t>Ervaringen </a:t>
            </a:r>
            <a:r>
              <a:rPr lang="nl-NL" dirty="0"/>
              <a:t>gemeente </a:t>
            </a:r>
            <a:br>
              <a:rPr lang="nl-NL" sz="1600" dirty="0"/>
            </a:b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4C2D2B8-C5A5-45E0-A0E1-F86098A3CF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CB272B-080A-4A59-89E0-9C119E01112C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071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ZrZ0vtRcOVFlND1E6a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MW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42313"/>
      </a:accent1>
      <a:accent2>
        <a:srgbClr val="DB9F7A"/>
      </a:accent2>
      <a:accent3>
        <a:srgbClr val="EEEEEE"/>
      </a:accent3>
      <a:accent4>
        <a:srgbClr val="EED3BC"/>
      </a:accent4>
      <a:accent5>
        <a:srgbClr val="304B98"/>
      </a:accent5>
      <a:accent6>
        <a:srgbClr val="484847"/>
      </a:accent6>
      <a:hlink>
        <a:srgbClr val="304B98"/>
      </a:hlink>
      <a:folHlink>
        <a:srgbClr val="DB9F7A"/>
      </a:folHlink>
    </a:clrScheme>
    <a:fontScheme name="OMWB">
      <a:majorFont>
        <a:latin typeface="Zilla Slab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MWB low res 2.potx" id="{24979F04-D8AC-47F8-B2BD-96D7364CA441}" vid="{ABB0C3D2-AC97-485E-9ED2-5D166DE319A0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9F5B1A1149EC43BD3D02E4662B264F" ma:contentTypeVersion="10" ma:contentTypeDescription="Een nieuw document maken." ma:contentTypeScope="" ma:versionID="b8b21d3aeacc725f51ee448096fbd8ef">
  <xsd:schema xmlns:xsd="http://www.w3.org/2001/XMLSchema" xmlns:xs="http://www.w3.org/2001/XMLSchema" xmlns:p="http://schemas.microsoft.com/office/2006/metadata/properties" xmlns:ns2="87dfae08-d86b-47c6-976a-3de4263cac44" targetNamespace="http://schemas.microsoft.com/office/2006/metadata/properties" ma:root="true" ma:fieldsID="061473a2a7ae07eb23aaebc35dfd7f15" ns2:_="">
    <xsd:import namespace="87dfae08-d86b-47c6-976a-3de4263cac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dfae08-d86b-47c6-976a-3de4263cac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453CF7-26E2-4278-AFB0-C636F65D77E6}"/>
</file>

<file path=customXml/itemProps2.xml><?xml version="1.0" encoding="utf-8"?>
<ds:datastoreItem xmlns:ds="http://schemas.openxmlformats.org/officeDocument/2006/customXml" ds:itemID="{1991D85C-D791-42EF-A01D-900B32DCEB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BB89A5-1578-40A9-B496-8BD506F2727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sjabloon (1)</Template>
  <TotalTime>819</TotalTime>
  <Words>320</Words>
  <Application>Microsoft Office PowerPoint</Application>
  <PresentationFormat>Breedbeeld</PresentationFormat>
  <Paragraphs>51</Paragraphs>
  <Slides>7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3" baseType="lpstr">
      <vt:lpstr>Arial</vt:lpstr>
      <vt:lpstr>Calibri</vt:lpstr>
      <vt:lpstr>Verdana</vt:lpstr>
      <vt:lpstr>Zilla Slab</vt:lpstr>
      <vt:lpstr>Kantoorthema</vt:lpstr>
      <vt:lpstr>think-cell Slide</vt:lpstr>
      <vt:lpstr>Ervaringen in het relatie/  accountmanagement         Jacco Rentrop      Accountmanager  </vt:lpstr>
      <vt:lpstr>PowerPoint-presentatie</vt:lpstr>
      <vt:lpstr>Professioneel opdrachtgever- en opdrachtgeverschap: </vt:lpstr>
      <vt:lpstr>Zachte dimensie: goede gesprek, effectief gedrag</vt:lpstr>
      <vt:lpstr>PowerPoint-presentatie</vt:lpstr>
      <vt:lpstr>Wederkerigheid in OG/ON-schap (2 to tango)  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Polder, Erik van de</dc:creator>
  <cp:lastModifiedBy>Jacco Rentrop</cp:lastModifiedBy>
  <cp:revision>9</cp:revision>
  <dcterms:created xsi:type="dcterms:W3CDTF">2020-09-16T07:03:32Z</dcterms:created>
  <dcterms:modified xsi:type="dcterms:W3CDTF">2022-03-14T15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9F5B1A1149EC43BD3D02E4662B264F</vt:lpwstr>
  </property>
</Properties>
</file>